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3" y="34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4/04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4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Numérique Responsable</a:t>
            </a:r>
          </a:p>
          <a:p>
            <a:r>
              <a:rPr lang="fr-FR" b="1" dirty="0"/>
              <a:t>Appel à Projet : </a:t>
            </a:r>
            <a:r>
              <a:rPr lang="fr-FR" dirty="0"/>
              <a:t>ECONUM</a:t>
            </a: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3196069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88900"/>
            <a:endParaRPr lang="fr-FR" b="0" i="1" dirty="0"/>
          </a:p>
          <a:p>
            <a:pPr marL="374650" indent="-285750">
              <a:buFont typeface="Arial" panose="020B0604020202020204" pitchFamily="34" charset="0"/>
              <a:buChar char="•"/>
            </a:pPr>
            <a:r>
              <a:rPr lang="fr-FR" b="0" i="1" dirty="0"/>
              <a:t>Si projet de biens communs : préciser le modèle de diffusion à la plac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Remédiation ou Prévention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bien commun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2057126"/>
            <a:ext cx="5101094" cy="3179893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2110882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plusieurs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4</TotalTime>
  <Words>1654</Words>
  <Application>Microsoft Office PowerPoint</Application>
  <PresentationFormat>Grand écran</PresentationFormat>
  <Paragraphs>213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5</cp:revision>
  <cp:lastPrinted>2017-04-19T15:45:38Z</cp:lastPrinted>
  <dcterms:created xsi:type="dcterms:W3CDTF">2015-06-10T16:17:23Z</dcterms:created>
  <dcterms:modified xsi:type="dcterms:W3CDTF">2023-04-14T08:53:55Z</dcterms:modified>
</cp:coreProperties>
</file>